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9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6" r:id="rId37"/>
    <p:sldId id="4987" r:id="rId38"/>
    <p:sldId id="4988" r:id="rId39"/>
    <p:sldId id="4989" r:id="rId40"/>
    <p:sldId id="5007" r:id="rId41"/>
    <p:sldId id="4990" r:id="rId42"/>
    <p:sldId id="4985" r:id="rId43"/>
    <p:sldId id="4991" r:id="rId44"/>
    <p:sldId id="5012" r:id="rId45"/>
    <p:sldId id="5013" r:id="rId46"/>
    <p:sldId id="5011" r:id="rId47"/>
    <p:sldId id="4993" r:id="rId48"/>
    <p:sldId id="4995" r:id="rId49"/>
    <p:sldId id="4994" r:id="rId50"/>
    <p:sldId id="4996" r:id="rId51"/>
    <p:sldId id="4997" r:id="rId52"/>
    <p:sldId id="4998" r:id="rId53"/>
    <p:sldId id="5004" r:id="rId54"/>
    <p:sldId id="5005" r:id="rId55"/>
    <p:sldId id="5000" r:id="rId56"/>
    <p:sldId id="5001" r:id="rId57"/>
    <p:sldId id="5002" r:id="rId58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9672" autoAdjust="0"/>
    <p:restoredTop sz="96381" autoAdjust="0"/>
  </p:normalViewPr>
  <p:slideViewPr>
    <p:cSldViewPr snapToGrid="0">
      <p:cViewPr varScale="1">
        <p:scale>
          <a:sx n="121" d="100"/>
          <a:sy n="121" d="100"/>
        </p:scale>
        <p:origin x="1234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04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the same model the same question twice, you may well get 2 different answers.</a:t>
            </a:r>
          </a:p>
          <a:p>
            <a:r>
              <a:rPr lang="en-US" dirty="0"/>
              <a:t>And both maybe valid.</a:t>
            </a:r>
          </a:p>
          <a:p>
            <a:r>
              <a:rPr lang="en-US" dirty="0"/>
              <a:t>To decide if a generated answer is okay, we can’t compare to a reference anymore. </a:t>
            </a:r>
          </a:p>
          <a:p>
            <a:r>
              <a:rPr lang="en-US" dirty="0"/>
              <a:t>This makes Unit testing, detecting regressions or debugging may get quite painful.</a:t>
            </a:r>
          </a:p>
          <a:p>
            <a:endParaRPr lang="en-US" dirty="0"/>
          </a:p>
          <a:p>
            <a:r>
              <a:rPr lang="en-US" dirty="0"/>
              <a:t>Comparing the impact of an model change - for example due to quantization – also becomes a real headache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a nutshell: equality testing is not an option anymore.</a:t>
            </a:r>
          </a:p>
          <a:p>
            <a:endParaRPr lang="en-US" dirty="0"/>
          </a:p>
          <a:p>
            <a:r>
              <a:rPr lang="en-US" dirty="0"/>
              <a:t>A good but expensive way is to ask humans to do the evaluation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r>
              <a:rPr lang="en-US" dirty="0"/>
              <a:t>Even when you have a few interns at hand, you need a set of criteria.</a:t>
            </a:r>
          </a:p>
          <a:p>
            <a:r>
              <a:rPr lang="en-US" dirty="0"/>
              <a:t>For example an answer may be correct but written in an unprofessional style.</a:t>
            </a:r>
          </a:p>
          <a:p>
            <a:endParaRPr lang="en-US" dirty="0"/>
          </a:p>
          <a:p>
            <a:r>
              <a:rPr lang="en-US" dirty="0"/>
              <a:t>Note that we don’t always need a ground-truth – meaning a “true reference answer”.</a:t>
            </a:r>
          </a:p>
          <a:p>
            <a:r>
              <a:rPr lang="en-US" dirty="0"/>
              <a:t>For example we often can detect contradictions without knowing the “real truth”.</a:t>
            </a:r>
          </a:p>
          <a:p>
            <a:endParaRPr lang="en-US" dirty="0"/>
          </a:p>
          <a:p>
            <a:r>
              <a:rPr lang="en-US" dirty="0"/>
              <a:t>People tried for quite a while to use statistics. But this did not work very well.</a:t>
            </a:r>
          </a:p>
          <a:p>
            <a:endParaRPr lang="en-US" dirty="0"/>
          </a:p>
          <a:p>
            <a:r>
              <a:rPr lang="en-US" dirty="0"/>
              <a:t>They key idea is to ask a model to evaluate each criteria separately.</a:t>
            </a:r>
          </a:p>
          <a:p>
            <a:r>
              <a:rPr lang="en-US" dirty="0"/>
              <a:t>Thus turning the </a:t>
            </a:r>
            <a:r>
              <a:rPr lang="en-US" dirty="0" err="1"/>
              <a:t>llm</a:t>
            </a:r>
            <a:r>
              <a:rPr lang="en-US" dirty="0"/>
              <a:t> into a judg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</a:t>
            </a:r>
            <a:r>
              <a:rPr lang="de-CH" dirty="0" err="1"/>
              <a:t>handcrafted</a:t>
            </a:r>
            <a:r>
              <a:rPr lang="de-CH" dirty="0"/>
              <a:t>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86845" y="144713"/>
            <a:ext cx="905154" cy="90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icrosoft/Phi-3.5-mini-instruct" TargetMode="External"/><Relationship Id="rId7" Type="http://schemas.openxmlformats.org/officeDocument/2006/relationships/hyperlink" Target="https://huggingface.co/docs/transformers/main/en/quantization/bitsandbytes?bnb=8-bit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docs/transformers/main/en/quantization/bitsandbytes?bnb=4-bit" TargetMode="External"/><Relationship Id="rId5" Type="http://schemas.openxmlformats.org/officeDocument/2006/relationships/hyperlink" Target="https://huggingface.co/meta-llama/Meta-Llama-3.1-8B-Instruct" TargetMode="External"/><Relationship Id="rId4" Type="http://schemas.openxmlformats.org/officeDocument/2006/relationships/hyperlink" Target="https://huggingface.co/google/gemma-2-2b-it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?hl=en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9.png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abs/2303.16634" TargetMode="Externa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87D8BCA-9B96-033F-44CF-3DAFD0F482CE}"/>
              </a:ext>
            </a:extLst>
          </p:cNvPr>
          <p:cNvGrpSpPr/>
          <p:nvPr/>
        </p:nvGrpSpPr>
        <p:grpSpPr>
          <a:xfrm>
            <a:off x="3665458" y="1788257"/>
            <a:ext cx="1016625" cy="695895"/>
            <a:chOff x="3665458" y="1788257"/>
            <a:chExt cx="1016625" cy="695895"/>
          </a:xfrm>
        </p:grpSpPr>
        <p:sp>
          <p:nvSpPr>
            <p:cNvPr id="15" name="Arrow: Down 14">
              <a:extLst>
                <a:ext uri="{FF2B5EF4-FFF2-40B4-BE49-F238E27FC236}">
                  <a16:creationId xmlns:a16="http://schemas.microsoft.com/office/drawing/2014/main" id="{C774D972-4550-0123-44AB-7588F0423FE5}"/>
                </a:ext>
              </a:extLst>
            </p:cNvPr>
            <p:cNvSpPr/>
            <p:nvPr/>
          </p:nvSpPr>
          <p:spPr>
            <a:xfrm rot="16200000">
              <a:off x="3987683" y="1589545"/>
              <a:ext cx="408647" cy="806071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E3B97BD-3D6A-DE4C-FFB5-CE569756A017}"/>
                </a:ext>
              </a:extLst>
            </p:cNvPr>
            <p:cNvSpPr txBox="1"/>
            <p:nvPr/>
          </p:nvSpPr>
          <p:spPr>
            <a:xfrm>
              <a:off x="3665458" y="2227607"/>
              <a:ext cx="1016625" cy="256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b="1" dirty="0">
                  <a:solidFill>
                    <a:schemeClr val="bg2"/>
                  </a:solidFill>
                </a:rPr>
                <a:t>[312, 2,17,…]</a:t>
              </a:r>
              <a:endParaRPr lang="en-CH" sz="1067" b="1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0391B-949C-4CAA-E9DF-A8128F30281E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01CC458-6C74-B5DE-FE9C-9A887CB2537E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0D37E134-2800-1F22-AA8B-F38DAA100285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85586F-492A-EAE5-140F-08388A903E3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-24</a:t>
              </a:r>
            </a:p>
            <a:p>
              <a:pPr algn="ctr"/>
              <a:r>
                <a:rPr lang="de-CH" sz="800" b="1" dirty="0"/>
                <a:t>39</a:t>
              </a:r>
            </a:p>
            <a:p>
              <a:pPr algn="ctr"/>
              <a:r>
                <a:rPr lang="de-CH" sz="800" b="1" dirty="0"/>
                <a:t>-398</a:t>
              </a:r>
            </a:p>
            <a:p>
              <a:pPr algn="ctr"/>
              <a:r>
                <a:rPr lang="de-CH" sz="800" b="1" dirty="0"/>
                <a:t>91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C8703-5709-2301-3B62-5B25D03BB920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84CA0B-AC00-B632-694D-D20FB4EF8DB9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8" name="Double Bracket 7">
              <a:extLst>
                <a:ext uri="{FF2B5EF4-FFF2-40B4-BE49-F238E27FC236}">
                  <a16:creationId xmlns:a16="http://schemas.microsoft.com/office/drawing/2014/main" id="{3ECE65BD-8ED1-5518-CFDC-47394706F967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CAE7F0-1D03-7471-8247-60E571D66DFA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3.1</a:t>
              </a:r>
            </a:p>
            <a:p>
              <a:pPr algn="ctr"/>
              <a:r>
                <a:rPr lang="de-CH" sz="800" b="1" dirty="0"/>
                <a:t>14.1</a:t>
              </a:r>
            </a:p>
            <a:p>
              <a:pPr algn="ctr"/>
              <a:r>
                <a:rPr lang="de-CH" sz="800" b="1" dirty="0"/>
                <a:t>45.9</a:t>
              </a:r>
            </a:p>
            <a:p>
              <a:pPr algn="ctr"/>
              <a:r>
                <a:rPr lang="de-CH" sz="800" b="1" dirty="0"/>
                <a:t>-7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71E2F0-3E5E-F2B3-CD79-8A354AFC75F1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5651EA-B2D4-735E-9167-DD07B7344651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161DC924-60D0-F49F-DD8A-72626EEF7E5A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69F391-B86A-50DC-95F9-767E342D9BB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2.78</a:t>
              </a:r>
            </a:p>
            <a:p>
              <a:pPr algn="ctr"/>
              <a:r>
                <a:rPr lang="de-CH" sz="800" b="1" dirty="0"/>
                <a:t>0.02</a:t>
              </a:r>
            </a:p>
            <a:p>
              <a:pPr algn="ctr"/>
              <a:r>
                <a:rPr lang="de-CH" sz="800" b="1" dirty="0"/>
                <a:t>98.7</a:t>
              </a:r>
            </a:p>
            <a:p>
              <a:pPr algn="ctr"/>
              <a:r>
                <a:rPr lang="de-CH" sz="800" b="1" dirty="0"/>
                <a:t>-23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C960-20F7-2AA1-10E9-9B396B27BEEB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</a:p>
          <a:p>
            <a:r>
              <a:rPr lang="en" dirty="0"/>
              <a:t>Scaling to more than one parallel request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	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L4</a:t>
            </a:r>
            <a:r>
              <a:rPr lang="en" sz="2400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 </a:t>
            </a:r>
            <a:r>
              <a:rPr lang="en" dirty="0">
                <a:solidFill>
                  <a:srgbClr val="212121"/>
                </a:solidFill>
              </a:rPr>
              <a:t>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H100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	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</a:t>
            </a:r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 on GPU memory</a:t>
            </a:r>
            <a:endParaRPr dirty="0"/>
          </a:p>
          <a:p>
            <a:r>
              <a:rPr lang="en" dirty="0"/>
              <a:t>Caching for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</a:p>
          <a:p>
            <a:pPr lvl="1"/>
            <a:r>
              <a:rPr lang="de-DE" dirty="0"/>
              <a:t>b</a:t>
            </a:r>
            <a:r>
              <a:rPr lang="en" dirty="0"/>
              <a:t>atch size</a:t>
            </a:r>
            <a:endParaRPr dirty="0"/>
          </a:p>
          <a:p>
            <a:r>
              <a:rPr lang="en" dirty="0"/>
              <a:t>What about reducing resolution to 8 Bit or 4 Bit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</a:t>
            </a:r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85000" lnSpcReduction="20000"/>
          </a:bodyPr>
          <a:lstStyle/>
          <a:p>
            <a:pPr marL="0" indent="0">
              <a:buNone/>
            </a:pPr>
            <a:r>
              <a:rPr lang="nn-NO" sz="2800" dirty="0"/>
              <a:t>Key Driver multi language</a:t>
            </a:r>
          </a:p>
          <a:p>
            <a:pPr marL="0" indent="0">
              <a:buNone/>
            </a:pPr>
            <a:endParaRPr lang="en" sz="2600" b="1" dirty="0"/>
          </a:p>
          <a:p>
            <a:pPr marL="0" indent="0">
              <a:buNone/>
            </a:pPr>
            <a:r>
              <a:rPr lang="en" sz="2600" b="1" dirty="0"/>
              <a:t>Smaller Models</a:t>
            </a:r>
            <a:endParaRPr lang="nn-NO" sz="1800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Microsoft Phi 3.5 3.8B: </a:t>
            </a:r>
            <a:r>
              <a:rPr lang="nn-NO" sz="1800" dirty="0">
                <a:hlinkClick r:id="rId3"/>
              </a:rPr>
              <a:t>https://huggingface.co/microsoft/Phi-3.5-mini-instruct</a:t>
            </a:r>
            <a:r>
              <a:rPr lang="nn-NO" sz="1800" dirty="0"/>
              <a:t>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800" dirty="0"/>
              <a:t>Google Gemma 2 </a:t>
            </a:r>
            <a:r>
              <a:rPr lang="pl-PL" sz="1800" dirty="0"/>
              <a:t>2.6B: </a:t>
            </a:r>
            <a:r>
              <a:rPr lang="pl-PL" sz="1800" dirty="0">
                <a:hlinkClick r:id="rId4"/>
              </a:rPr>
              <a:t>https://huggingface.co/google/gemma-2-2b-it</a:t>
            </a:r>
            <a:r>
              <a:rPr lang="de-DE" sz="1800" dirty="0"/>
              <a:t>  </a:t>
            </a:r>
            <a:endParaRPr sz="18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26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800" dirty="0">
                <a:hlinkClick r:id="rId5"/>
              </a:rPr>
              <a:t>https://huggingface.co/meta-llama/Meta-Llama-3.1-8B-Instruct</a:t>
            </a:r>
            <a:r>
              <a:rPr lang="de-DE" sz="1800" dirty="0"/>
              <a:t>  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Quantized with </a:t>
            </a:r>
            <a:r>
              <a:rPr lang="en-US" sz="1800" dirty="0" err="1"/>
              <a:t>bitsandbytes</a:t>
            </a:r>
            <a:endParaRPr lang="en-US" sz="1800" dirty="0"/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to 4-Bit: </a:t>
            </a:r>
            <a:r>
              <a:rPr lang="en-US" sz="1800" dirty="0">
                <a:hlinkClick r:id="rId6"/>
              </a:rPr>
              <a:t>https://huggingface.co/docs/transformers/main/en/quantization/bitsandbytes?bnb=4-bit</a:t>
            </a:r>
            <a:r>
              <a:rPr lang="en-US" sz="1800" dirty="0"/>
              <a:t> 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and 8-Bit: </a:t>
            </a:r>
            <a:r>
              <a:rPr lang="en-US" sz="1800" dirty="0">
                <a:hlinkClick r:id="rId7"/>
              </a:rPr>
              <a:t>https://huggingface.co/docs/transformers/main/en/quantization/bitsandbytes?bnb=8-bit</a:t>
            </a:r>
            <a:r>
              <a:rPr lang="en-US" sz="1800" dirty="0"/>
              <a:t> 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65408" y="450910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>
                <a:hlinkClick r:id="rId3"/>
              </a:rPr>
              <a:t>https://colab.research.google.com/github/DJCordhose/practical-llm/blob/main/Assessment.ipynb?hl=en</a:t>
            </a:r>
            <a:r>
              <a:rPr lang="de-DE" sz="2400" dirty="0"/>
              <a:t>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D148AD12-3215-252D-8142-7D9D527562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738935" y="2278299"/>
            <a:ext cx="1633150" cy="163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27786" y="2211063"/>
            <a:ext cx="1942325" cy="194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204460" y="1436433"/>
            <a:ext cx="1184827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models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 dirty="0"/>
              <a:t>Running LLMs on prem</a:t>
            </a:r>
            <a:endParaRPr sz="6560" dirty="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Mixture of experts</a:t>
            </a:r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</a:p>
          <a:p>
            <a:pPr indent="-445758">
              <a:buSzPct val="100000"/>
            </a:pPr>
            <a:r>
              <a:rPr lang="de-DE" dirty="0"/>
              <a:t>t</a:t>
            </a:r>
            <a:r>
              <a:rPr lang="en" dirty="0"/>
              <a:t>hus also bringing down KV-cache needs</a:t>
            </a:r>
          </a:p>
          <a:p>
            <a:pPr indent="-445758">
              <a:buSzPct val="100000"/>
            </a:pPr>
            <a:endParaRPr lang="en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sz="1800" dirty="0"/>
              <a:t>  </a:t>
            </a:r>
            <a:endParaRPr sz="1800" dirty="0"/>
          </a:p>
          <a:p>
            <a:pPr indent="-445758">
              <a:buSzPct val="100000"/>
            </a:pPr>
            <a:r>
              <a:rPr lang="en" sz="1800" dirty="0"/>
              <a:t>Sparse Mixture of Experts (SMoE) Mixtral 8x7B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 dirty="0"/>
              <a:t>Even better context length: 128k</a:t>
            </a:r>
            <a:endParaRPr dirty="0"/>
          </a:p>
          <a:p>
            <a:pPr indent="-445758">
              <a:buSzPct val="100000"/>
            </a:pPr>
            <a:r>
              <a:rPr lang="en" dirty="0"/>
              <a:t>Supported languages: English, German, French, Italian, Portuguese, Hindi, Spanish, and Thai.</a:t>
            </a:r>
            <a:endParaRPr dirty="0"/>
          </a:p>
          <a:p>
            <a:pPr indent="-445758">
              <a:buSzPct val="100000"/>
            </a:pPr>
            <a:r>
              <a:rPr lang="en" dirty="0"/>
              <a:t>Significantly better scores in European languages than 8B version</a:t>
            </a:r>
            <a:endParaRPr dirty="0"/>
          </a:p>
          <a:p>
            <a:pPr indent="-445758">
              <a:buSzPct val="80629"/>
            </a:pPr>
            <a:r>
              <a:rPr lang="en" dirty="0">
                <a:latin typeface="Source Sans Pro" panose="020B0503030403020204" pitchFamily="34" charset="0"/>
                <a:ea typeface="Source Sans Pro" panose="020B0503030403020204" pitchFamily="34" charset="0"/>
              </a:rPr>
              <a:t>Compared to </a:t>
            </a:r>
            <a:r>
              <a:rPr lang="en" sz="2443" dirty="0">
                <a:latin typeface="Source Sans Pro" panose="020B0503030403020204" pitchFamily="34" charset="0"/>
                <a:ea typeface="Source Sans Pro" panose="020B0503030403020204" pitchFamily="34" charset="0"/>
              </a:rPr>
              <a:t>Mixtral 8x7B</a:t>
            </a:r>
            <a:endParaRPr sz="2976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lvl="1" indent="-414432">
              <a:buSzPct val="77777"/>
            </a:pPr>
            <a:r>
              <a:rPr lang="en" sz="2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significantly better scores all over</a:t>
            </a:r>
            <a:endParaRPr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lvl="1" indent="-414432">
              <a:buSzPct val="77777"/>
            </a:pPr>
            <a:r>
              <a:rPr lang="en" sz="2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Needs more memory and compute</a:t>
            </a:r>
            <a:endParaRPr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endParaRPr lang="en" sz="1800" b="1"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1007" y="1637550"/>
            <a:ext cx="11360800" cy="4446400"/>
          </a:xfrm>
        </p:spPr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e.g.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Batch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request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Automatic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usag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exist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hardware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Optimization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Distribut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model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ver</a:t>
            </a:r>
            <a:r>
              <a:rPr lang="de-CH" sz="1800" dirty="0">
                <a:latin typeface="Source Sans Pro" panose="020B0503030403020204"/>
              </a:rPr>
              <a:t> multiple GPUs (Tensor </a:t>
            </a:r>
            <a:r>
              <a:rPr lang="de-CH" sz="1800" dirty="0" err="1">
                <a:latin typeface="Source Sans Pro" panose="020B0503030403020204"/>
              </a:rPr>
              <a:t>parallelism</a:t>
            </a:r>
            <a:r>
              <a:rPr lang="de-CH" sz="1800" dirty="0">
                <a:latin typeface="Source Sans Pro" panose="020B0503030403020204"/>
              </a:rPr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>
              <a:solidFill>
                <a:srgbClr val="212121"/>
              </a:solidFill>
            </a:endParaRPr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/>
      <p:bldP spid="10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378848" y="3719211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0682DF-9F80-877F-36DE-0CEDA6C674A3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417426"/>
            <a:ext cx="11360800" cy="1231410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2743200"/>
            <a:ext cx="11360800" cy="404829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 err="1"/>
              <a:t>Context</a:t>
            </a:r>
            <a:endParaRPr lang="de-CH" dirty="0"/>
          </a:p>
          <a:p>
            <a:pPr marL="795847" lvl="1" indent="0">
              <a:buFont typeface="[Normal Text]"/>
              <a:buNone/>
            </a:pPr>
            <a:r>
              <a:rPr lang="en-US" dirty="0"/>
              <a:t>You are an expert on </a:t>
            </a:r>
            <a:r>
              <a:rPr lang="en-US" dirty="0" err="1"/>
              <a:t>english</a:t>
            </a:r>
            <a:r>
              <a:rPr lang="en-US" dirty="0"/>
              <a:t> language. Grade a students text with scores between 0 and 10.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Answer with a Json containing a score and a reason.</a:t>
            </a:r>
          </a:p>
          <a:p>
            <a:pPr marL="795847" lvl="1" indent="0">
              <a:buFont typeface="[Normal Text]"/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Student Text: </a:t>
            </a:r>
            <a:r>
              <a:rPr lang="en-US" dirty="0" err="1"/>
              <a:t>Witing</a:t>
            </a:r>
            <a:r>
              <a:rPr lang="en-US" dirty="0"/>
              <a:t> texts is painful, </a:t>
            </a:r>
            <a:r>
              <a:rPr lang="en-US" dirty="0" err="1"/>
              <a:t>caus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making </a:t>
            </a:r>
            <a:r>
              <a:rPr lang="en-US" dirty="0" err="1"/>
              <a:t>mitakes</a:t>
            </a:r>
            <a:r>
              <a:rPr lang="en-US" dirty="0"/>
              <a:t>.</a:t>
            </a:r>
          </a:p>
          <a:p>
            <a:pPr marL="795847" lvl="1" indent="0"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Json:</a:t>
            </a:r>
          </a:p>
          <a:p>
            <a:pPr marL="152396" indent="0">
              <a:buFont typeface="Arial" panose="020B0604020202020204" pitchFamily="34" charset="0"/>
              <a:buNone/>
            </a:pPr>
            <a:endParaRPr lang="de-CH" sz="1800" dirty="0"/>
          </a:p>
          <a:p>
            <a:pPr marL="152396" indent="0">
              <a:buNone/>
            </a:pPr>
            <a:r>
              <a:rPr lang="de-CH" dirty="0" err="1"/>
              <a:t>Result</a:t>
            </a:r>
            <a:r>
              <a:rPr lang="de-CH" dirty="0"/>
              <a:t>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G-</a:t>
            </a:r>
            <a:r>
              <a:rPr lang="de-CH" dirty="0" err="1"/>
              <a:t>Ev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800" dirty="0">
                <a:latin typeface="Arial"/>
              </a:rPr>
              <a:t>«Grade </a:t>
            </a:r>
            <a:r>
              <a:rPr lang="de-CH" sz="1800" dirty="0" err="1">
                <a:latin typeface="Arial"/>
              </a:rPr>
              <a:t>the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english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grammar</a:t>
            </a:r>
            <a:r>
              <a:rPr lang="de-CH" sz="1800" dirty="0">
                <a:latin typeface="Arial"/>
              </a:rPr>
              <a:t> and </a:t>
            </a:r>
            <a:r>
              <a:rPr lang="de-CH" sz="1800" dirty="0" err="1">
                <a:latin typeface="Arial"/>
              </a:rPr>
              <a:t>syntax</a:t>
            </a:r>
            <a:r>
              <a:rPr lang="de-CH" sz="18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800" dirty="0">
                <a:latin typeface="Arial"/>
              </a:rPr>
              <a:t>“Why don’t you write longer texts ?”</a:t>
            </a:r>
            <a:endParaRPr lang="de-CH" sz="18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800" dirty="0">
                <a:latin typeface="Arial"/>
              </a:rPr>
              <a:t>«</a:t>
            </a:r>
            <a:r>
              <a:rPr lang="en-US" sz="1800" dirty="0" err="1">
                <a:latin typeface="Arial"/>
              </a:rPr>
              <a:t>Witing</a:t>
            </a:r>
            <a:r>
              <a:rPr lang="en-US" sz="1800" dirty="0">
                <a:latin typeface="Arial"/>
              </a:rPr>
              <a:t> texts is painful, </a:t>
            </a:r>
            <a:r>
              <a:rPr lang="en-US" sz="1800" dirty="0" err="1">
                <a:latin typeface="Arial"/>
              </a:rPr>
              <a:t>caus</a:t>
            </a:r>
            <a:r>
              <a:rPr lang="en-US" sz="1800" dirty="0">
                <a:latin typeface="Arial"/>
              </a:rPr>
              <a:t> </a:t>
            </a:r>
            <a:r>
              <a:rPr lang="en-US" sz="1800" dirty="0" err="1">
                <a:latin typeface="Arial"/>
              </a:rPr>
              <a:t>im</a:t>
            </a:r>
            <a:r>
              <a:rPr lang="en-US" sz="1800" dirty="0">
                <a:latin typeface="Arial"/>
              </a:rPr>
              <a:t> making </a:t>
            </a:r>
            <a:r>
              <a:rPr lang="en-US" sz="1800" dirty="0" err="1">
                <a:latin typeface="Arial"/>
              </a:rPr>
              <a:t>mitakes</a:t>
            </a:r>
            <a:r>
              <a:rPr lang="en-US" sz="1800" dirty="0">
                <a:latin typeface="Arial"/>
              </a:rPr>
              <a:t>.”</a:t>
            </a:r>
            <a:endParaRPr lang="de-CH" sz="18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4619649"/>
            <a:ext cx="11360800" cy="202375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6262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Result</a:t>
            </a:r>
            <a:endParaRPr lang="de-CH" sz="2000" dirty="0"/>
          </a:p>
          <a:p>
            <a:pPr marL="795847" lvl="1" indent="0">
              <a:buFont typeface="[Normal Text]"/>
              <a:buNone/>
            </a:pPr>
            <a:r>
              <a:rPr lang="en-US" sz="14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 	'reason’: 	"The text contains multiple spelling errors, such as '</a:t>
            </a:r>
            <a:r>
              <a:rPr lang="en-US" sz="1400" dirty="0" err="1"/>
              <a:t>Witing</a:t>
            </a:r>
            <a:r>
              <a:rPr lang="en-US" sz="1400" dirty="0"/>
              <a:t>' instead of 'Writing', '</a:t>
            </a:r>
            <a:r>
              <a:rPr lang="en-US" sz="1400" dirty="0" err="1"/>
              <a:t>caus</a:t>
            </a:r>
            <a:r>
              <a:rPr lang="en-US" sz="14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'because', </a:t>
            </a:r>
            <a:r>
              <a:rPr lang="en-US" sz="1400" dirty="0" err="1"/>
              <a:t>and'mitakes</a:t>
            </a:r>
            <a:r>
              <a:rPr lang="en-US" sz="1400" dirty="0"/>
              <a:t>' instead </a:t>
            </a:r>
            <a:r>
              <a:rPr lang="en-US" sz="1400" dirty="0" err="1"/>
              <a:t>of'mistakes</a:t>
            </a:r>
            <a:r>
              <a:rPr lang="en-US" sz="14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}</a:t>
            </a:r>
            <a:endParaRPr lang="de-CH" sz="14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063240"/>
            <a:ext cx="11360800" cy="154943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Steps</a:t>
            </a:r>
            <a:endParaRPr lang="de-CH" sz="20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/>
              <a:t>Generate a plan </a:t>
            </a:r>
            <a:r>
              <a:rPr lang="de-CH" sz="1800" dirty="0" err="1"/>
              <a:t>containing</a:t>
            </a:r>
            <a:r>
              <a:rPr lang="de-CH" sz="1800" dirty="0"/>
              <a:t> 4+ </a:t>
            </a:r>
            <a:r>
              <a:rPr lang="de-CH" sz="1800" dirty="0" err="1"/>
              <a:t>steps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.</a:t>
            </a: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based</a:t>
            </a:r>
            <a:r>
              <a:rPr lang="de-CH" sz="1800" dirty="0"/>
              <a:t> on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plan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a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prompt </a:t>
            </a: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step</a:t>
            </a:r>
            <a:r>
              <a:rPr lang="de-CH" sz="1800" dirty="0"/>
              <a:t> 2</a:t>
            </a:r>
            <a:endParaRPr lang="en-CH" sz="1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172E97-8371-6DDA-DB44-B3AB920DAC59}"/>
              </a:ext>
            </a:extLst>
          </p:cNvPr>
          <p:cNvSpPr txBox="1"/>
          <p:nvPr/>
        </p:nvSpPr>
        <p:spPr>
          <a:xfrm>
            <a:off x="8602060" y="6274075"/>
            <a:ext cx="34349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>
                <a:hlinkClick r:id="rId2"/>
              </a:rPr>
              <a:t>https://arxiv.org/abs/2303.16634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80733" y="2230821"/>
            <a:ext cx="1855575" cy="185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373792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6136478" y="3689017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736879" y="3118502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773171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886955" y="2938667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62FE700B-8386-517C-54DA-F655569581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8515" y="1278352"/>
            <a:ext cx="7666107" cy="53147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24B8718-1232-C7D9-1733-8F37557735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AA4F361-5A9A-2F7B-A3FA-E5FEA2A35132}"/>
              </a:ext>
            </a:extLst>
          </p:cNvPr>
          <p:cNvCxnSpPr/>
          <p:nvPr/>
        </p:nvCxnSpPr>
        <p:spPr>
          <a:xfrm flipV="1">
            <a:off x="4931454" y="3481026"/>
            <a:ext cx="1431509" cy="1242323"/>
          </a:xfrm>
          <a:prstGeom prst="straightConnector1">
            <a:avLst/>
          </a:prstGeom>
          <a:ln w="762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C3BD109-9D5B-5CAE-FDBE-F3314DD1D7CE}"/>
              </a:ext>
            </a:extLst>
          </p:cNvPr>
          <p:cNvCxnSpPr>
            <a:cxnSpLocks/>
          </p:cNvCxnSpPr>
          <p:nvPr/>
        </p:nvCxnSpPr>
        <p:spPr>
          <a:xfrm flipV="1">
            <a:off x="8816078" y="3588232"/>
            <a:ext cx="827164" cy="1513489"/>
          </a:xfrm>
          <a:prstGeom prst="straightConnector1">
            <a:avLst/>
          </a:prstGeom>
          <a:ln w="762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84F8223-CF4C-D990-E476-3F5219371723}"/>
              </a:ext>
            </a:extLst>
          </p:cNvPr>
          <p:cNvCxnSpPr>
            <a:cxnSpLocks/>
          </p:cNvCxnSpPr>
          <p:nvPr/>
        </p:nvCxnSpPr>
        <p:spPr>
          <a:xfrm flipV="1">
            <a:off x="3015487" y="2632842"/>
            <a:ext cx="606378" cy="1469345"/>
          </a:xfrm>
          <a:prstGeom prst="straightConnector1">
            <a:avLst/>
          </a:prstGeom>
          <a:ln w="762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876550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4B8718-1232-C7D9-1733-8F37557735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3527B58-3BA8-BFFB-0507-B6958EA6C1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8515" y="1278352"/>
            <a:ext cx="7666106" cy="5314786"/>
          </a:xfrm>
          <a:prstGeom prst="rect">
            <a:avLst/>
          </a:prstGeom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561DA943-B7D5-FE6B-5264-BE6B0DE0C361}"/>
              </a:ext>
            </a:extLst>
          </p:cNvPr>
          <p:cNvCxnSpPr>
            <a:cxnSpLocks/>
          </p:cNvCxnSpPr>
          <p:nvPr/>
        </p:nvCxnSpPr>
        <p:spPr>
          <a:xfrm flipV="1">
            <a:off x="1678571" y="2724281"/>
            <a:ext cx="1676331" cy="1409437"/>
          </a:xfrm>
          <a:prstGeom prst="straightConnector1">
            <a:avLst/>
          </a:prstGeom>
          <a:ln w="762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456292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0DA747-BE99-1A6E-62BA-925C1F00DB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663" y="1816189"/>
            <a:ext cx="11638674" cy="212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42349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sz="1800" dirty="0" err="1">
                <a:latin typeface="Source Sans Pro" panose="020B0503030403020204"/>
              </a:rPr>
              <a:t>Failure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>
                <a:latin typeface="Source Sans Pro" panose="020B0503030403020204"/>
              </a:rPr>
              <a:t>Power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Stability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Complexity</a:t>
            </a:r>
            <a:r>
              <a:rPr lang="de-CH" sz="1800" dirty="0">
                <a:latin typeface="Source Sans Pro" panose="020B0503030403020204"/>
              </a:rPr>
              <a:t>, Work, Troubles</a:t>
            </a:r>
            <a:endParaRPr lang="en-CH" sz="1800" dirty="0"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335779" y="2188159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382</Words>
  <Application>Microsoft Office PowerPoint</Application>
  <PresentationFormat>Widescreen</PresentationFormat>
  <Paragraphs>650</Paragraphs>
  <Slides>57</Slides>
  <Notes>45</Notes>
  <HiddenSlides>3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8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Evaluation on text results</vt:lpstr>
      <vt:lpstr>Evaluation on text results</vt:lpstr>
      <vt:lpstr>Evaluation on text results</vt:lpstr>
      <vt:lpstr>LLM as a judge: Idea</vt:lpstr>
      <vt:lpstr>LLM as a judge: G-Eval</vt:lpstr>
      <vt:lpstr>Demo:  Evaluation on Prem Notebook</vt:lpstr>
      <vt:lpstr>System Architecture</vt:lpstr>
      <vt:lpstr>System Architecture: Evaluation</vt:lpstr>
      <vt:lpstr>Online Eval: Example</vt:lpstr>
      <vt:lpstr>Online Eval: Example</vt:lpstr>
      <vt:lpstr>Online Eval: Example</vt:lpstr>
      <vt:lpstr>Evaluation Issues</vt:lpstr>
      <vt:lpstr>Eval Frameworks</vt:lpstr>
      <vt:lpstr>Your Experience ?</vt:lpstr>
      <vt:lpstr>Wrap Up</vt:lpstr>
      <vt:lpstr>Key takeaways</vt:lpstr>
      <vt:lpstr>Collection of notebooks used</vt:lpstr>
      <vt:lpstr>Thank you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121</cp:revision>
  <dcterms:created xsi:type="dcterms:W3CDTF">2019-10-15T07:31:09Z</dcterms:created>
  <dcterms:modified xsi:type="dcterms:W3CDTF">2024-09-04T09:49:07Z</dcterms:modified>
</cp:coreProperties>
</file>